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0000"/>
    <a:srgbClr val="A20013"/>
    <a:srgbClr val="444444"/>
    <a:srgbClr val="F6F6F6"/>
    <a:srgbClr val="E5E5E5"/>
    <a:srgbClr val="A8A8A8"/>
    <a:srgbClr val="8D8D8D"/>
    <a:srgbClr val="5A5A5A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15027BAA-3498-455A-B7B1-A997F15923CF}"/>
    <pc:docChg chg="modSld">
      <pc:chgData name="Weigel Stefan (PAR-EPS)" userId="fd3b2067-2981-4ad8-bf3a-d2e1004e4fa8" providerId="ADAL" clId="{15027BAA-3498-455A-B7B1-A997F15923CF}" dt="2024-05-08T12:23:15.503" v="3" actId="27918"/>
      <pc:docMkLst>
        <pc:docMk/>
      </pc:docMkLst>
      <pc:sldChg chg="mod">
        <pc:chgData name="Weigel Stefan (PAR-EPS)" userId="fd3b2067-2981-4ad8-bf3a-d2e1004e4fa8" providerId="ADAL" clId="{15027BAA-3498-455A-B7B1-A997F15923CF}" dt="2024-05-08T12:23:15.503" v="3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5A6429BC-A70E-480A-8C88-4BD6673B8B72}"/>
    <pc:docChg chg="modSld">
      <pc:chgData name="Meyer Raphael (PAR-ES)" userId="79615dfe-ed48-4e74-a40f-4f7b034c1c27" providerId="ADAL" clId="{5A6429BC-A70E-480A-8C88-4BD6673B8B72}" dt="2022-02-22T09:46:18.173" v="96" actId="20577"/>
      <pc:docMkLst>
        <pc:docMk/>
      </pc:docMkLst>
      <pc:sldChg chg="modSp mod">
        <pc:chgData name="Meyer Raphael (PAR-ES)" userId="79615dfe-ed48-4e74-a40f-4f7b034c1c27" providerId="ADAL" clId="{5A6429BC-A70E-480A-8C88-4BD6673B8B72}" dt="2022-02-22T09:46:18.173" v="96" actId="20577"/>
        <pc:sldMkLst>
          <pc:docMk/>
          <pc:sldMk cId="204404663" sldId="275"/>
        </pc:sldMkLst>
        <pc:spChg chg="mod">
          <ac:chgData name="Meyer Raphael (PAR-ES)" userId="79615dfe-ed48-4e74-a40f-4f7b034c1c27" providerId="ADAL" clId="{5A6429BC-A70E-480A-8C88-4BD6673B8B72}" dt="2022-02-22T09:46:18.173" v="96" actId="20577"/>
          <ac:spMkLst>
            <pc:docMk/>
            <pc:sldMk cId="204404663" sldId="27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5A6429BC-A70E-480A-8C88-4BD6673B8B72}" dt="2022-02-22T09:43:51.367" v="86" actId="14100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Meyer Raphael (PAR-ES)" userId="79615dfe-ed48-4e74-a40f-4f7b034c1c27" providerId="ADAL" clId="{5A6429BC-A70E-480A-8C88-4BD6673B8B72}" dt="2022-02-22T09:44:07.749" v="87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F0CE1A0A-1695-414E-B94D-F84871DC85B9}"/>
    <pc:docChg chg="modSld">
      <pc:chgData name="Weigel Stefan (PAR-ES)" userId="fd3b2067-2981-4ad8-bf3a-d2e1004e4fa8" providerId="ADAL" clId="{F0CE1A0A-1695-414E-B94D-F84871DC85B9}" dt="2023-04-28T14:20:51.600" v="8" actId="27918"/>
      <pc:docMkLst>
        <pc:docMk/>
      </pc:docMkLst>
      <pc:sldChg chg="mod">
        <pc:chgData name="Weigel Stefan (PAR-ES)" userId="fd3b2067-2981-4ad8-bf3a-d2e1004e4fa8" providerId="ADAL" clId="{F0CE1A0A-1695-414E-B94D-F84871DC85B9}" dt="2023-04-28T14:20:51.600" v="8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1DE344A4-4DE7-4734-BCBA-B4D44D1431BA}"/>
    <pc:docChg chg="modSld">
      <pc:chgData name="Meyer Raphael (PAR-ES)" userId="79615dfe-ed48-4e74-a40f-4f7b034c1c27" providerId="ADAL" clId="{1DE344A4-4DE7-4734-BCBA-B4D44D1431BA}" dt="2023-02-22T13:56:41.959" v="5" actId="27918"/>
      <pc:docMkLst>
        <pc:docMk/>
      </pc:docMkLst>
      <pc:sldChg chg="mod">
        <pc:chgData name="Meyer Raphael (PAR-ES)" userId="79615dfe-ed48-4e74-a40f-4f7b034c1c27" providerId="ADAL" clId="{1DE344A4-4DE7-4734-BCBA-B4D44D1431BA}" dt="2023-02-22T13:56:41.959" v="5" actId="27918"/>
        <pc:sldMkLst>
          <pc:docMk/>
          <pc:sldMk cId="204404663" sldId="275"/>
        </pc:sldMkLst>
      </pc:sldChg>
    </pc:docChg>
  </pc:docChgLst>
  <pc:docChgLst>
    <pc:chgData name="Weigel Stefan (PAR-ES)" userId="fd3b2067-2981-4ad8-bf3a-d2e1004e4fa8" providerId="ADAL" clId="{AA52FEA2-8102-4A8F-BADE-388B6DC6E6E4}"/>
    <pc:docChg chg="modSld">
      <pc:chgData name="Weigel Stefan (PAR-ES)" userId="fd3b2067-2981-4ad8-bf3a-d2e1004e4fa8" providerId="ADAL" clId="{AA52FEA2-8102-4A8F-BADE-388B6DC6E6E4}" dt="2022-04-28T16:55:22.577" v="59" actId="27918"/>
      <pc:docMkLst>
        <pc:docMk/>
      </pc:docMkLst>
      <pc:sldChg chg="mod">
        <pc:chgData name="Weigel Stefan (PAR-ES)" userId="fd3b2067-2981-4ad8-bf3a-d2e1004e4fa8" providerId="ADAL" clId="{AA52FEA2-8102-4A8F-BADE-388B6DC6E6E4}" dt="2022-04-28T16:50:27.034" v="12" actId="27918"/>
        <pc:sldMkLst>
          <pc:docMk/>
          <pc:sldMk cId="204404663" sldId="275"/>
        </pc:sldMkLst>
      </pc:sldChg>
      <pc:sldChg chg="mod">
        <pc:chgData name="Weigel Stefan (PAR-ES)" userId="fd3b2067-2981-4ad8-bf3a-d2e1004e4fa8" providerId="ADAL" clId="{AA52FEA2-8102-4A8F-BADE-388B6DC6E6E4}" dt="2022-04-28T16:51:45.535" v="27" actId="27918"/>
        <pc:sldMkLst>
          <pc:docMk/>
          <pc:sldMk cId="2347588559" sldId="276"/>
        </pc:sldMkLst>
      </pc:sldChg>
      <pc:sldChg chg="mod">
        <pc:chgData name="Weigel Stefan (PAR-ES)" userId="fd3b2067-2981-4ad8-bf3a-d2e1004e4fa8" providerId="ADAL" clId="{AA52FEA2-8102-4A8F-BADE-388B6DC6E6E4}" dt="2022-04-28T16:54:20.751" v="42" actId="27918"/>
        <pc:sldMkLst>
          <pc:docMk/>
          <pc:sldMk cId="1322850106" sldId="277"/>
        </pc:sldMkLst>
      </pc:sldChg>
      <pc:sldChg chg="mod">
        <pc:chgData name="Weigel Stefan (PAR-ES)" userId="fd3b2067-2981-4ad8-bf3a-d2e1004e4fa8" providerId="ADAL" clId="{AA52FEA2-8102-4A8F-BADE-388B6DC6E6E4}" dt="2022-04-28T16:55:22.577" v="59" actId="27918"/>
        <pc:sldMkLst>
          <pc:docMk/>
          <pc:sldMk cId="4000799038" sldId="278"/>
        </pc:sldMkLst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98DA33D0-7B59-4DCE-A599-58F26EAA669E}"/>
    <pc:docChg chg="modSld">
      <pc:chgData name="Weigel Stefan (PAR-EPS)" userId="fd3b2067-2981-4ad8-bf3a-d2e1004e4fa8" providerId="ADAL" clId="{98DA33D0-7B59-4DCE-A599-58F26EAA669E}" dt="2024-02-28T14:24:59.872" v="86" actId="27918"/>
      <pc:docMkLst>
        <pc:docMk/>
      </pc:docMkLst>
      <pc:sldChg chg="modSp mod">
        <pc:chgData name="Weigel Stefan (PAR-EPS)" userId="fd3b2067-2981-4ad8-bf3a-d2e1004e4fa8" providerId="ADAL" clId="{98DA33D0-7B59-4DCE-A599-58F26EAA669E}" dt="2024-02-28T14:24:59.872" v="86" actId="27918"/>
        <pc:sldMkLst>
          <pc:docMk/>
          <pc:sldMk cId="204404663" sldId="275"/>
        </pc:sldMkLst>
        <pc:spChg chg="mod">
          <ac:chgData name="Weigel Stefan (PAR-EPS)" userId="fd3b2067-2981-4ad8-bf3a-d2e1004e4fa8" providerId="ADAL" clId="{98DA33D0-7B59-4DCE-A599-58F26EAA669E}" dt="2024-02-28T14:13:17.107" v="82" actId="1035"/>
          <ac:spMkLst>
            <pc:docMk/>
            <pc:sldMk cId="204404663" sldId="275"/>
            <ac:spMk id="10" creationId="{A3DB4B5C-8AF8-4D76-8E11-2708D9423565}"/>
          </ac:spMkLst>
        </pc:spChg>
        <pc:spChg chg="mod">
          <ac:chgData name="Weigel Stefan (PAR-EPS)" userId="fd3b2067-2981-4ad8-bf3a-d2e1004e4fa8" providerId="ADAL" clId="{98DA33D0-7B59-4DCE-A599-58F26EAA669E}" dt="2024-02-28T14:09:22.252" v="66" actId="1036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Weigel Stefan (PAR-EPS)" userId="fd3b2067-2981-4ad8-bf3a-d2e1004e4fa8" providerId="ADAL" clId="{98DA33D0-7B59-4DCE-A599-58F26EAA669E}" dt="2024-02-28T14:13:12.200" v="70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9BD42E85-4A4E-42AB-8096-1F9005665612}"/>
    <pc:docChg chg="delSld">
      <pc:chgData name="Meyer Raphael (PAR-ES)" userId="79615dfe-ed48-4e74-a40f-4f7b034c1c27" providerId="ADAL" clId="{9BD42E85-4A4E-42AB-8096-1F9005665612}" dt="2022-02-21T16:44:39.350" v="0" actId="47"/>
      <pc:docMkLst>
        <pc:docMk/>
      </pc:docMkLst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2173D55D-59B2-4020-A2E1-7633AD7CE06E}"/>
    <pc:docChg chg="delSld">
      <pc:chgData name="Meyer Raphael (PAR-ES)" userId="79615dfe-ed48-4e74-a40f-4f7b034c1c27" providerId="ADAL" clId="{2173D55D-59B2-4020-A2E1-7633AD7CE06E}" dt="2023-04-28T08:42:25.835" v="0" actId="47"/>
      <pc:docMkLst>
        <pc:docMk/>
      </pc:docMkLst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2347588559" sldId="276"/>
        </pc:sldMkLst>
      </pc:sldChg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1322850106" sldId="277"/>
        </pc:sldMkLst>
      </pc:sldChg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4000799038" sldId="278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1B675688-28C4-4092-921E-31B58830E03B}"/>
    <pc:docChg chg="modSld">
      <pc:chgData name="Weigel Stefan (PAR-EPS)" userId="fd3b2067-2981-4ad8-bf3a-d2e1004e4fa8" providerId="ADAL" clId="{1B675688-28C4-4092-921E-31B58830E03B}" dt="2025-02-22T11:11:00.086" v="39" actId="207"/>
      <pc:docMkLst>
        <pc:docMk/>
      </pc:docMkLst>
      <pc:sldChg chg="modSp mod">
        <pc:chgData name="Weigel Stefan (PAR-EPS)" userId="fd3b2067-2981-4ad8-bf3a-d2e1004e4fa8" providerId="ADAL" clId="{1B675688-28C4-4092-921E-31B58830E03B}" dt="2025-02-22T11:11:00.086" v="39" actId="207"/>
        <pc:sldMkLst>
          <pc:docMk/>
          <pc:sldMk cId="204404663" sldId="275"/>
        </pc:sldMkLst>
        <pc:graphicFrameChg chg="mod">
          <ac:chgData name="Weigel Stefan (PAR-EPS)" userId="fd3b2067-2981-4ad8-bf3a-d2e1004e4fa8" providerId="ADAL" clId="{1B675688-28C4-4092-921E-31B58830E03B}" dt="2025-02-22T11:11:00.086" v="39" actId="207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D2B3EDC3-3B30-46C3-B8A0-25C2632C0F9D}"/>
    <pc:docChg chg="undo custSel modSld">
      <pc:chgData name="Weigel Stefan (PAR-EPS)" userId="fd3b2067-2981-4ad8-bf3a-d2e1004e4fa8" providerId="ADAL" clId="{D2B3EDC3-3B30-46C3-B8A0-25C2632C0F9D}" dt="2024-04-11T14:22:21.394" v="20"/>
      <pc:docMkLst>
        <pc:docMk/>
      </pc:docMkLst>
      <pc:sldChg chg="modSp mod setBg">
        <pc:chgData name="Weigel Stefan (PAR-EPS)" userId="fd3b2067-2981-4ad8-bf3a-d2e1004e4fa8" providerId="ADAL" clId="{D2B3EDC3-3B30-46C3-B8A0-25C2632C0F9D}" dt="2024-04-11T14:22:21.394" v="20"/>
        <pc:sldMkLst>
          <pc:docMk/>
          <pc:sldMk cId="204404663" sldId="275"/>
        </pc:sldMkLst>
        <pc:spChg chg="mod">
          <ac:chgData name="Weigel Stefan (PAR-EPS)" userId="fd3b2067-2981-4ad8-bf3a-d2e1004e4fa8" providerId="ADAL" clId="{D2B3EDC3-3B30-46C3-B8A0-25C2632C0F9D}" dt="2024-04-11T14:08:25.132" v="8" actId="255"/>
          <ac:spMkLst>
            <pc:docMk/>
            <pc:sldMk cId="204404663" sldId="275"/>
            <ac:spMk id="10" creationId="{A3DB4B5C-8AF8-4D76-8E11-2708D9423565}"/>
          </ac:spMkLst>
        </pc:spChg>
        <pc:spChg chg="mod">
          <ac:chgData name="Weigel Stefan (PAR-EPS)" userId="fd3b2067-2981-4ad8-bf3a-d2e1004e4fa8" providerId="ADAL" clId="{D2B3EDC3-3B30-46C3-B8A0-25C2632C0F9D}" dt="2024-04-11T14:09:02.541" v="13" actId="1035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Weigel Stefan (PAR-EPS)" userId="fd3b2067-2981-4ad8-bf3a-d2e1004e4fa8" providerId="ADAL" clId="{D2B3EDC3-3B30-46C3-B8A0-25C2632C0F9D}" dt="2024-04-11T14:22:21.394" v="20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S)" userId="fd3b2067-2981-4ad8-bf3a-d2e1004e4fa8" providerId="ADAL" clId="{03465442-35A7-4C6D-9CEC-66BB857E13D0}"/>
    <pc:docChg chg="modSld">
      <pc:chgData name="Weigel Stefan (PAR-ES)" userId="fd3b2067-2981-4ad8-bf3a-d2e1004e4fa8" providerId="ADAL" clId="{03465442-35A7-4C6D-9CEC-66BB857E13D0}" dt="2022-02-22T14:04:58.857" v="5" actId="27918"/>
      <pc:docMkLst>
        <pc:docMk/>
      </pc:docMkLst>
      <pc:sldChg chg="mod">
        <pc:chgData name="Weigel Stefan (PAR-ES)" userId="fd3b2067-2981-4ad8-bf3a-d2e1004e4fa8" providerId="ADAL" clId="{03465442-35A7-4C6D-9CEC-66BB857E13D0}" dt="2022-02-22T14:04:58.857" v="5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AA0E4A3-1D7C-44C7-9275-BC748E09C82E}"/>
    <pc:docChg chg="custSel addSld modSld">
      <pc:chgData name="Meyer Raphael (PAR-ES)" userId="79615dfe-ed48-4e74-a40f-4f7b034c1c27" providerId="ADAL" clId="{EAA0E4A3-1D7C-44C7-9275-BC748E09C82E}" dt="2022-03-10T10:45:54.706" v="53" actId="27918"/>
      <pc:docMkLst>
        <pc:docMk/>
      </pc:docMkLst>
      <pc:sldChg chg="modSp add mod">
        <pc:chgData name="Meyer Raphael (PAR-ES)" userId="79615dfe-ed48-4e74-a40f-4f7b034c1c27" providerId="ADAL" clId="{EAA0E4A3-1D7C-44C7-9275-BC748E09C82E}" dt="2022-03-10T10:45:54.706" v="53" actId="27918"/>
        <pc:sldMkLst>
          <pc:docMk/>
          <pc:sldMk cId="2347588559" sldId="276"/>
        </pc:sldMkLst>
        <pc:spChg chg="mod">
          <ac:chgData name="Meyer Raphael (PAR-ES)" userId="79615dfe-ed48-4e74-a40f-4f7b034c1c27" providerId="ADAL" clId="{EAA0E4A3-1D7C-44C7-9275-BC748E09C82E}" dt="2022-03-10T10:40:04.627" v="8"/>
          <ac:spMkLst>
            <pc:docMk/>
            <pc:sldMk cId="2347588559" sldId="27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05.793" v="11"/>
          <ac:spMkLst>
            <pc:docMk/>
            <pc:sldMk cId="2347588559" sldId="276"/>
            <ac:spMk id="12" creationId="{C8AB3786-D9DD-4308-864B-E8A3E60658EB}"/>
          </ac:spMkLst>
        </pc:spChg>
      </pc:sldChg>
      <pc:sldChg chg="modSp add mod">
        <pc:chgData name="Meyer Raphael (PAR-ES)" userId="79615dfe-ed48-4e74-a40f-4f7b034c1c27" providerId="ADAL" clId="{EAA0E4A3-1D7C-44C7-9275-BC748E09C82E}" dt="2022-03-10T10:45:29.535" v="49" actId="27918"/>
        <pc:sldMkLst>
          <pc:docMk/>
          <pc:sldMk cId="1322850106" sldId="277"/>
        </pc:sldMkLst>
        <pc:spChg chg="mod">
          <ac:chgData name="Meyer Raphael (PAR-ES)" userId="79615dfe-ed48-4e74-a40f-4f7b034c1c27" providerId="ADAL" clId="{EAA0E4A3-1D7C-44C7-9275-BC748E09C82E}" dt="2022-03-10T10:40:25.333" v="9"/>
          <ac:spMkLst>
            <pc:docMk/>
            <pc:sldMk cId="1322850106" sldId="27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44.592" v="21" actId="20577"/>
          <ac:spMkLst>
            <pc:docMk/>
            <pc:sldMk cId="1322850106" sldId="277"/>
            <ac:spMk id="10" creationId="{A3DB4B5C-8AF8-4D76-8E11-2708D9423565}"/>
          </ac:spMkLst>
        </pc:spChg>
        <pc:spChg chg="mod">
          <ac:chgData name="Meyer Raphael (PAR-ES)" userId="79615dfe-ed48-4e74-a40f-4f7b034c1c27" providerId="ADAL" clId="{EAA0E4A3-1D7C-44C7-9275-BC748E09C82E}" dt="2022-03-10T10:41:19.958" v="13" actId="14100"/>
          <ac:spMkLst>
            <pc:docMk/>
            <pc:sldMk cId="1322850106" sldId="277"/>
            <ac:spMk id="12" creationId="{C8AB3786-D9DD-4308-864B-E8A3E60658EB}"/>
          </ac:spMkLst>
        </pc:spChg>
      </pc:sldChg>
      <pc:sldChg chg="modSp add mod">
        <pc:chgData name="Meyer Raphael (PAR-ES)" userId="79615dfe-ed48-4e74-a40f-4f7b034c1c27" providerId="ADAL" clId="{EAA0E4A3-1D7C-44C7-9275-BC748E09C82E}" dt="2022-03-10T10:45:08.731" v="46" actId="27918"/>
        <pc:sldMkLst>
          <pc:docMk/>
          <pc:sldMk cId="4000799038" sldId="278"/>
        </pc:sldMkLst>
        <pc:spChg chg="mod">
          <ac:chgData name="Meyer Raphael (PAR-ES)" userId="79615dfe-ed48-4e74-a40f-4f7b034c1c27" providerId="ADAL" clId="{EAA0E4A3-1D7C-44C7-9275-BC748E09C82E}" dt="2022-03-10T10:40:34.308" v="10"/>
          <ac:spMkLst>
            <pc:docMk/>
            <pc:sldMk cId="4000799038" sldId="27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49.073" v="27" actId="20577"/>
          <ac:spMkLst>
            <pc:docMk/>
            <pc:sldMk cId="4000799038" sldId="278"/>
            <ac:spMk id="10" creationId="{A3DB4B5C-8AF8-4D76-8E11-2708D9423565}"/>
          </ac:spMkLst>
        </pc:spChg>
        <pc:spChg chg="mod">
          <ac:chgData name="Meyer Raphael (PAR-ES)" userId="79615dfe-ed48-4e74-a40f-4f7b034c1c27" providerId="ADAL" clId="{EAA0E4A3-1D7C-44C7-9275-BC748E09C82E}" dt="2022-03-10T10:41:31.786" v="15" actId="14100"/>
          <ac:spMkLst>
            <pc:docMk/>
            <pc:sldMk cId="4000799038" sldId="278"/>
            <ac:spMk id="12" creationId="{C8AB3786-D9DD-4308-864B-E8A3E60658EB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950261382616431E-2"/>
          <c:y val="9.0509769134196866E-2"/>
          <c:w val="0.8716698119346652"/>
          <c:h val="0.687555063199359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data!$D$8</c:f>
              <c:strCache>
                <c:ptCount val="1"/>
                <c:pt idx="0">
                  <c:v>Infrastruktur SBB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17"/>
            <c:invertIfNegative val="0"/>
            <c:bubble3D val="0"/>
            <c:spPr>
              <a:solidFill>
                <a:srgbClr val="EB0000"/>
              </a:solidFill>
            </c:spPr>
            <c:extLst>
              <c:ext xmlns:c16="http://schemas.microsoft.com/office/drawing/2014/chart" uri="{C3380CC4-5D6E-409C-BE32-E72D297353CC}">
                <c16:uniqueId val="{00000001-9EB8-4B3D-A232-F79AE3811776}"/>
              </c:ext>
            </c:extLst>
          </c:dPt>
          <c:cat>
            <c:numRef>
              <c:f>data!$B$9:$B$26</c:f>
              <c:numCache>
                <c:formatCode>General</c:formatCode>
                <c:ptCount val="1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</c:numCache>
            </c:numRef>
          </c:cat>
          <c:val>
            <c:numRef>
              <c:f>data!$D$9:$D$26</c:f>
              <c:numCache>
                <c:formatCode>#,##0</c:formatCode>
                <c:ptCount val="18"/>
                <c:pt idx="0">
                  <c:v>2032.4478369999999</c:v>
                </c:pt>
                <c:pt idx="1">
                  <c:v>2114</c:v>
                </c:pt>
                <c:pt idx="2">
                  <c:v>2088.5749810000002</c:v>
                </c:pt>
                <c:pt idx="3">
                  <c:v>2128.2936650000001</c:v>
                </c:pt>
                <c:pt idx="4">
                  <c:v>2082.1999999999998</c:v>
                </c:pt>
                <c:pt idx="5">
                  <c:v>2111.3942470000002</c:v>
                </c:pt>
                <c:pt idx="6">
                  <c:v>2147.994831</c:v>
                </c:pt>
                <c:pt idx="7">
                  <c:v>2088.83</c:v>
                </c:pt>
                <c:pt idx="8">
                  <c:v>2097.6860000000001</c:v>
                </c:pt>
                <c:pt idx="9">
                  <c:v>2142.5936740000002</c:v>
                </c:pt>
                <c:pt idx="10">
                  <c:v>2067.431693</c:v>
                </c:pt>
                <c:pt idx="11">
                  <c:v>2033</c:v>
                </c:pt>
                <c:pt idx="12">
                  <c:v>2013</c:v>
                </c:pt>
                <c:pt idx="13">
                  <c:v>1890</c:v>
                </c:pt>
                <c:pt idx="14">
                  <c:v>2002.1310000000001</c:v>
                </c:pt>
                <c:pt idx="15">
                  <c:v>2048.1</c:v>
                </c:pt>
                <c:pt idx="16">
                  <c:v>2027.175</c:v>
                </c:pt>
                <c:pt idx="17">
                  <c:v>2043.877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1"/>
          <c:tx>
            <c:strRef>
              <c:f>data!$E$8</c:f>
              <c:strCache>
                <c:ptCount val="1"/>
                <c:pt idx="0">
                  <c:v>andere Infrastrukturen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dPt>
            <c:idx val="17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0-9EB8-4B3D-A232-F79AE3811776}"/>
              </c:ext>
            </c:extLst>
          </c:dPt>
          <c:cat>
            <c:numRef>
              <c:f>data!$B$9:$B$26</c:f>
              <c:numCache>
                <c:formatCode>General</c:formatCode>
                <c:ptCount val="1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</c:numCache>
            </c:numRef>
          </c:cat>
          <c:val>
            <c:numRef>
              <c:f>data!$E$9:$E$26</c:f>
              <c:numCache>
                <c:formatCode>#,##0</c:formatCode>
                <c:ptCount val="18"/>
                <c:pt idx="0">
                  <c:v>298.90285400000016</c:v>
                </c:pt>
                <c:pt idx="1">
                  <c:v>303</c:v>
                </c:pt>
                <c:pt idx="2">
                  <c:v>302.17247499999985</c:v>
                </c:pt>
                <c:pt idx="3">
                  <c:v>299.80456299999969</c:v>
                </c:pt>
                <c:pt idx="4">
                  <c:v>298.90000000000009</c:v>
                </c:pt>
                <c:pt idx="5">
                  <c:v>298.41561400000001</c:v>
                </c:pt>
                <c:pt idx="6">
                  <c:v>293.65079300000025</c:v>
                </c:pt>
                <c:pt idx="7">
                  <c:v>291.939257</c:v>
                </c:pt>
                <c:pt idx="8">
                  <c:v>313.54700000000003</c:v>
                </c:pt>
                <c:pt idx="9">
                  <c:v>315.29860999999983</c:v>
                </c:pt>
                <c:pt idx="10">
                  <c:v>321.77498900000001</c:v>
                </c:pt>
                <c:pt idx="11">
                  <c:v>306.40000000000009</c:v>
                </c:pt>
                <c:pt idx="12">
                  <c:v>299.5</c:v>
                </c:pt>
                <c:pt idx="13">
                  <c:v>267.40000000000009</c:v>
                </c:pt>
                <c:pt idx="14">
                  <c:v>273.34500000000003</c:v>
                </c:pt>
                <c:pt idx="15">
                  <c:v>264.26099999999997</c:v>
                </c:pt>
                <c:pt idx="16">
                  <c:v>271.90499999999997</c:v>
                </c:pt>
                <c:pt idx="17">
                  <c:v>270.115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  <c:extLst/>
      </c:barChart>
      <c:lineChart>
        <c:grouping val="standard"/>
        <c:varyColors val="0"/>
        <c:ser>
          <c:idx val="5"/>
          <c:order val="2"/>
          <c:tx>
            <c:strRef>
              <c:f>data!$F$8</c:f>
              <c:strCache>
                <c:ptCount val="1"/>
                <c:pt idx="0">
                  <c:v>Anteil erneuerbarer Energieträger am Bahnstrom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data!$B$9:$B$26</c:f>
              <c:numCache>
                <c:formatCode>General</c:formatCode>
                <c:ptCount val="1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  <c:pt idx="17">
                  <c:v>2024</c:v>
                </c:pt>
              </c:numCache>
            </c:numRef>
          </c:cat>
          <c:val>
            <c:numRef>
              <c:f>data!$F$9:$F$26</c:f>
              <c:numCache>
                <c:formatCode>#,##0</c:formatCode>
                <c:ptCount val="18"/>
                <c:pt idx="0">
                  <c:v>72.5</c:v>
                </c:pt>
                <c:pt idx="1">
                  <c:v>74.3</c:v>
                </c:pt>
                <c:pt idx="2">
                  <c:v>76.5</c:v>
                </c:pt>
                <c:pt idx="3">
                  <c:v>81.872506960903706</c:v>
                </c:pt>
                <c:pt idx="4">
                  <c:v>73</c:v>
                </c:pt>
                <c:pt idx="5">
                  <c:v>83.5</c:v>
                </c:pt>
                <c:pt idx="6">
                  <c:v>100</c:v>
                </c:pt>
                <c:pt idx="7">
                  <c:v>97.1</c:v>
                </c:pt>
                <c:pt idx="8">
                  <c:v>99.11</c:v>
                </c:pt>
                <c:pt idx="9">
                  <c:v>91.9</c:v>
                </c:pt>
                <c:pt idx="10">
                  <c:v>91.4</c:v>
                </c:pt>
                <c:pt idx="11">
                  <c:v>99.209195584327205</c:v>
                </c:pt>
                <c:pt idx="12">
                  <c:v>95.5</c:v>
                </c:pt>
                <c:pt idx="13">
                  <c:v>91.06</c:v>
                </c:pt>
                <c:pt idx="14">
                  <c:v>90.24</c:v>
                </c:pt>
                <c:pt idx="15">
                  <c:v>90.26</c:v>
                </c:pt>
                <c:pt idx="16">
                  <c:v>91.84</c:v>
                </c:pt>
                <c:pt idx="17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444444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"/>
      </c:valAx>
      <c:valAx>
        <c:axId val="164956032"/>
        <c:scaling>
          <c:orientation val="minMax"/>
          <c:max val="100"/>
        </c:scaling>
        <c:delete val="0"/>
        <c:axPos val="r"/>
        <c:numFmt formatCode="0%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100"/>
            </a:pPr>
            <a:endParaRPr lang="de-DE"/>
          </a:p>
        </c:txPr>
        <c:crossAx val="165049088"/>
        <c:crosses val="max"/>
        <c:crossBetween val="between"/>
        <c:majorUnit val="25"/>
        <c:dispUnits>
          <c:builtInUnit val="hundreds"/>
          <c:dispUnitsLbl/>
        </c:dispUnits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2.5489360317563613E-2"/>
          <c:y val="0.91682336747865822"/>
          <c:w val="0.8257502006464067"/>
          <c:h val="6.2319984563840795E-2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4266</cdr:x>
      <cdr:y>0.05904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93304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rgbClr val="444444"/>
              </a:solidFill>
              <a:latin typeface="+mj-lt"/>
              <a:cs typeface="Arial" pitchFamily="34" charset="0"/>
            </a:rPr>
            <a:t>GWh</a:t>
          </a:r>
          <a:endParaRPr lang="de-CH" sz="1100" dirty="0">
            <a:solidFill>
              <a:srgbClr val="444444"/>
            </a:solidFill>
            <a:latin typeface="+mj-lt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ahnstromverbrauch und Anteil erneuerbare Energien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644076568"/>
              </p:ext>
            </p:extLst>
          </p:nvPr>
        </p:nvGraphicFramePr>
        <p:xfrm>
          <a:off x="1494169" y="1886295"/>
          <a:ext cx="9220200" cy="4206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80022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8AB3786-D9DD-4308-864B-E8A3E60658EB}"/>
              </a:ext>
            </a:extLst>
          </p:cNvPr>
          <p:cNvSpPr txBox="1">
            <a:spLocks/>
          </p:cNvSpPr>
          <p:nvPr/>
        </p:nvSpPr>
        <p:spPr>
          <a:xfrm>
            <a:off x="2154943" y="5546588"/>
            <a:ext cx="4766463" cy="170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800" kern="1200" spc="1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Von SBB Infrastruktur Energie für den Zugverkehr abgegebener Bahnstrom an:</a:t>
            </a:r>
          </a:p>
        </p:txBody>
      </p:sp>
    </p:spTree>
    <p:extLst>
      <p:ext uri="{BB962C8B-B14F-4D97-AF65-F5344CB8AC3E}">
        <p14:creationId xmlns:p14="http://schemas.microsoft.com/office/powerpoint/2010/main" val="204404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2f5c8543-cf23-4718-a3b8-32b0a91d511a"/>
    <ds:schemaRef ds:uri="96e82a89-ba48-4728-b345-cf206dbec8f1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749C783-9A13-4346-A7CB-208FF20BDA2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Bahnstromverbrauch und Anteil erneuerbare Energien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hnstromverbrauch und Anteil erneuerbare Energien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5-02-24T12:57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